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80" r:id="rId1"/>
  </p:sldMasterIdLst>
  <p:notesMasterIdLst>
    <p:notesMasterId r:id="rId11"/>
  </p:notesMasterIdLst>
  <p:handoutMasterIdLst>
    <p:handoutMasterId r:id="rId12"/>
  </p:handoutMasterIdLst>
  <p:sldIdLst>
    <p:sldId id="315" r:id="rId2"/>
    <p:sldId id="577" r:id="rId3"/>
    <p:sldId id="597" r:id="rId4"/>
    <p:sldId id="581" r:id="rId5"/>
    <p:sldId id="579" r:id="rId6"/>
    <p:sldId id="596" r:id="rId7"/>
    <p:sldId id="598" r:id="rId8"/>
    <p:sldId id="599" r:id="rId9"/>
    <p:sldId id="600" r:id="rId10"/>
  </p:sldIdLst>
  <p:sldSz cx="12195175" cy="6858000"/>
  <p:notesSz cx="9601200" cy="15087600"/>
  <p:embeddedFontLst>
    <p:embeddedFont>
      <p:font typeface="Trebuchet MS" panose="020B0603020202020204" pitchFamily="34" charset="0"/>
      <p:regular r:id="rId13"/>
      <p:bold r:id="rId14"/>
      <p:italic r:id="rId15"/>
      <p:boldItalic r:id="rId16"/>
    </p:embeddedFont>
    <p:embeddedFont>
      <p:font typeface="Wingdings 3" panose="05040102010807070707" pitchFamily="18" charset="2"/>
      <p:regular r:id="rId17"/>
    </p:embeddedFont>
  </p:embeddedFontLst>
  <p:custDataLst>
    <p:tags r:id="rId18"/>
  </p:custDataLst>
  <p:defaultTextStyle>
    <a:defPPr>
      <a:defRPr lang="de-DE"/>
    </a:defPPr>
    <a:lvl1pPr algn="r" rtl="0" fontAlgn="base">
      <a:spcBef>
        <a:spcPct val="0"/>
      </a:spcBef>
      <a:spcAft>
        <a:spcPct val="0"/>
      </a:spcAft>
      <a:buFont typeface="Wingdings" pitchFamily="2" charset="2"/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r" rtl="0" fontAlgn="base">
      <a:spcBef>
        <a:spcPct val="0"/>
      </a:spcBef>
      <a:spcAft>
        <a:spcPct val="0"/>
      </a:spcAft>
      <a:buFont typeface="Wingdings" pitchFamily="2" charset="2"/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r" rtl="0" fontAlgn="base">
      <a:spcBef>
        <a:spcPct val="0"/>
      </a:spcBef>
      <a:spcAft>
        <a:spcPct val="0"/>
      </a:spcAft>
      <a:buFont typeface="Wingdings" pitchFamily="2" charset="2"/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r" rtl="0" fontAlgn="base">
      <a:spcBef>
        <a:spcPct val="0"/>
      </a:spcBef>
      <a:spcAft>
        <a:spcPct val="0"/>
      </a:spcAft>
      <a:buFont typeface="Wingdings" pitchFamily="2" charset="2"/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r" rtl="0" fontAlgn="base">
      <a:spcBef>
        <a:spcPct val="0"/>
      </a:spcBef>
      <a:spcAft>
        <a:spcPct val="0"/>
      </a:spcAft>
      <a:buFont typeface="Wingdings" pitchFamily="2" charset="2"/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52">
          <p15:clr>
            <a:srgbClr val="A4A3A4"/>
          </p15:clr>
        </p15:guide>
        <p15:guide id="2" orient="horz" pos="3884">
          <p15:clr>
            <a:srgbClr val="A4A3A4"/>
          </p15:clr>
        </p15:guide>
        <p15:guide id="3" orient="horz" pos="4111">
          <p15:clr>
            <a:srgbClr val="A4A3A4"/>
          </p15:clr>
        </p15:guide>
        <p15:guide id="4" orient="horz" pos="980">
          <p15:clr>
            <a:srgbClr val="A4A3A4"/>
          </p15:clr>
        </p15:guide>
        <p15:guide id="5" pos="3841">
          <p15:clr>
            <a:srgbClr val="A4A3A4"/>
          </p15:clr>
        </p15:guide>
        <p15:guide id="6" pos="343">
          <p15:clr>
            <a:srgbClr val="A4A3A4"/>
          </p15:clr>
        </p15:guide>
        <p15:guide id="7" pos="179">
          <p15:clr>
            <a:srgbClr val="A4A3A4"/>
          </p15:clr>
        </p15:guide>
        <p15:guide id="8" pos="7447">
          <p15:clr>
            <a:srgbClr val="A4A3A4"/>
          </p15:clr>
        </p15:guide>
        <p15:guide id="9" pos="39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751" userDrawn="1">
          <p15:clr>
            <a:srgbClr val="A4A3A4"/>
          </p15:clr>
        </p15:guide>
        <p15:guide id="2" pos="302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8CC88"/>
    <a:srgbClr val="BAD1FE"/>
    <a:srgbClr val="6699FF"/>
    <a:srgbClr val="009933"/>
    <a:srgbClr val="C8F0BE"/>
    <a:srgbClr val="FF6600"/>
    <a:srgbClr val="FFE05D"/>
    <a:srgbClr val="BFDDFF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48" autoAdjust="0"/>
    <p:restoredTop sz="90879" autoAdjust="0"/>
  </p:normalViewPr>
  <p:slideViewPr>
    <p:cSldViewPr snapToGrid="0">
      <p:cViewPr varScale="1">
        <p:scale>
          <a:sx n="65" d="100"/>
          <a:sy n="65" d="100"/>
        </p:scale>
        <p:origin x="928" y="28"/>
      </p:cViewPr>
      <p:guideLst>
        <p:guide orient="horz" pos="3952"/>
        <p:guide orient="horz" pos="3884"/>
        <p:guide orient="horz" pos="4111"/>
        <p:guide orient="horz" pos="980"/>
        <p:guide pos="3841"/>
        <p:guide pos="343"/>
        <p:guide pos="179"/>
        <p:guide pos="7447"/>
        <p:guide pos="3932"/>
      </p:guideLst>
    </p:cSldViewPr>
  </p:slideViewPr>
  <p:outlineViewPr>
    <p:cViewPr>
      <p:scale>
        <a:sx n="33" d="100"/>
        <a:sy n="33" d="100"/>
      </p:scale>
      <p:origin x="0" y="-176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768" y="-2304"/>
      </p:cViewPr>
      <p:guideLst>
        <p:guide orient="horz" pos="4751"/>
        <p:guide pos="3024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2"/>
          </p:nvPr>
        </p:nvSpPr>
        <p:spPr>
          <a:xfrm>
            <a:off x="0" y="14331950"/>
            <a:ext cx="4160838" cy="755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hu-HU" dirty="0" smtClean="0"/>
              <a:t>Sysdata PSE Kft.</a:t>
            </a:r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"/>
          </p:nvPr>
        </p:nvSpPr>
        <p:spPr>
          <a:xfrm>
            <a:off x="5438775" y="14331950"/>
            <a:ext cx="4160838" cy="755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hu-HU" dirty="0" smtClean="0"/>
              <a:t>1</a:t>
            </a:r>
            <a:endParaRPr lang="hu-H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"/>
          </p:nvPr>
        </p:nvSpPr>
        <p:spPr>
          <a:xfrm>
            <a:off x="5438775" y="0"/>
            <a:ext cx="4160838" cy="755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778A4D-8154-4084-8E69-FCE67F73DAB0}" type="datetimeFigureOut">
              <a:rPr lang="hu-HU" smtClean="0"/>
              <a:t>2022. 10. 27.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58508827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5"/>
            <a:ext cx="4161568" cy="752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4285" tIns="67142" rIns="134285" bIns="67142" numCol="1" anchor="t" anchorCtr="0" compatLnSpc="1">
            <a:prstTxWarp prst="textNoShape">
              <a:avLst/>
            </a:prstTxWarp>
          </a:bodyPr>
          <a:lstStyle>
            <a:lvl1pPr algn="l" defTabSz="1342189">
              <a:buFontTx/>
              <a:buNone/>
              <a:defRPr sz="1600"/>
            </a:lvl1pPr>
          </a:lstStyle>
          <a:p>
            <a:endParaRPr lang="de-DE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437397" y="5"/>
            <a:ext cx="4161568" cy="752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4285" tIns="67142" rIns="134285" bIns="67142" numCol="1" anchor="t" anchorCtr="0" compatLnSpc="1">
            <a:prstTxWarp prst="textNoShape">
              <a:avLst/>
            </a:prstTxWarp>
          </a:bodyPr>
          <a:lstStyle>
            <a:lvl1pPr defTabSz="1342189">
              <a:buFontTx/>
              <a:buNone/>
              <a:defRPr sz="1600"/>
            </a:lvl1pPr>
          </a:lstStyle>
          <a:p>
            <a:r>
              <a:rPr lang="hu-HU" smtClean="0"/>
              <a:t>2015.09.23</a:t>
            </a:r>
            <a:endParaRPr lang="de-DE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28600" y="1131888"/>
            <a:ext cx="10058400" cy="56562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59679" y="7166194"/>
            <a:ext cx="7681856" cy="6789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4285" tIns="67142" rIns="134285" bIns="671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14332381"/>
            <a:ext cx="4161568" cy="752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4285" tIns="67142" rIns="134285" bIns="67142" numCol="1" anchor="b" anchorCtr="0" compatLnSpc="1">
            <a:prstTxWarp prst="textNoShape">
              <a:avLst/>
            </a:prstTxWarp>
          </a:bodyPr>
          <a:lstStyle>
            <a:lvl1pPr algn="l" defTabSz="1342189">
              <a:buFontTx/>
              <a:buNone/>
              <a:defRPr sz="1600"/>
            </a:lvl1pPr>
          </a:lstStyle>
          <a:p>
            <a:r>
              <a:rPr lang="de-DE" smtClean="0"/>
              <a:t>Sysdata PSE Kft.</a:t>
            </a:r>
            <a:endParaRPr lang="de-DE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437397" y="14332381"/>
            <a:ext cx="4161568" cy="752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4285" tIns="67142" rIns="134285" bIns="67142" numCol="1" anchor="b" anchorCtr="0" compatLnSpc="1">
            <a:prstTxWarp prst="textNoShape">
              <a:avLst/>
            </a:prstTxWarp>
          </a:bodyPr>
          <a:lstStyle>
            <a:lvl1pPr defTabSz="1342189">
              <a:buFontTx/>
              <a:buNone/>
              <a:defRPr sz="1600"/>
            </a:lvl1pPr>
          </a:lstStyle>
          <a:p>
            <a:r>
              <a:rPr lang="hu-HU" dirty="0" smtClean="0"/>
              <a:t>2015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472225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21A505-001B-406A-AFEA-FD7BAFB2BBD9}" type="slidenum">
              <a:rPr lang="de-DE"/>
              <a:pPr/>
              <a:t>1</a:t>
            </a:fld>
            <a:endParaRPr lang="de-DE"/>
          </a:p>
        </p:txBody>
      </p:sp>
      <p:sp>
        <p:nvSpPr>
          <p:cNvPr id="3870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70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hu-HU" smtClean="0"/>
              <a:t>2015.09.23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ysdata PSE Kft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74174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31016DD-3C1F-49F7-BB67-DCC8651EB9C9}" type="slidenum">
              <a:rPr lang="hu-HU"/>
              <a:pPr/>
              <a:t>2</a:t>
            </a:fld>
            <a:endParaRPr lang="hu-HU"/>
          </a:p>
        </p:txBody>
      </p:sp>
      <p:sp>
        <p:nvSpPr>
          <p:cNvPr id="1034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013" y="1135063"/>
            <a:ext cx="10055226" cy="5654675"/>
          </a:xfrm>
          <a:ln/>
        </p:spPr>
      </p:sp>
      <p:sp>
        <p:nvSpPr>
          <p:cNvPr id="1034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60121" y="7163994"/>
            <a:ext cx="7680960" cy="678942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hu-HU" smtClean="0"/>
              <a:t>2015.09.23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ysdata PSE Kft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07286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A7AC87C-CEB3-4174-9BCC-F323C741183A}" type="slidenum">
              <a:rPr lang="hu-HU"/>
              <a:pPr/>
              <a:t>4</a:t>
            </a:fld>
            <a:endParaRPr lang="hu-HU"/>
          </a:p>
        </p:txBody>
      </p:sp>
      <p:sp>
        <p:nvSpPr>
          <p:cNvPr id="51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2250" y="1135063"/>
            <a:ext cx="10055225" cy="5654675"/>
          </a:xfrm>
          <a:ln/>
        </p:spPr>
      </p:sp>
      <p:sp>
        <p:nvSpPr>
          <p:cNvPr id="51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57906" y="7166614"/>
            <a:ext cx="7685405" cy="67868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hu-HU" smtClean="0"/>
              <a:t>2015.09.23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ysdata PSE Kft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16043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hu-HU" smtClean="0"/>
              <a:t>2015.09.23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ysdata PSE Kft.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hu-HU" smtClean="0"/>
              <a:t>2015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33305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A7AC87C-CEB3-4174-9BCC-F323C741183A}" type="slidenum">
              <a:rPr lang="hu-HU"/>
              <a:pPr/>
              <a:t>6</a:t>
            </a:fld>
            <a:endParaRPr lang="hu-HU"/>
          </a:p>
        </p:txBody>
      </p:sp>
      <p:sp>
        <p:nvSpPr>
          <p:cNvPr id="51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2250" y="1135063"/>
            <a:ext cx="10055225" cy="5654675"/>
          </a:xfrm>
          <a:ln/>
        </p:spPr>
      </p:sp>
      <p:sp>
        <p:nvSpPr>
          <p:cNvPr id="51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57906" y="7166614"/>
            <a:ext cx="7685405" cy="67868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hu-HU" smtClean="0"/>
              <a:t>2015.09.23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ysdata PSE Kft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32689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A7AC87C-CEB3-4174-9BCC-F323C741183A}" type="slidenum">
              <a:rPr lang="hu-HU"/>
              <a:pPr/>
              <a:t>7</a:t>
            </a:fld>
            <a:endParaRPr lang="hu-HU"/>
          </a:p>
        </p:txBody>
      </p:sp>
      <p:sp>
        <p:nvSpPr>
          <p:cNvPr id="51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2250" y="1135063"/>
            <a:ext cx="10055225" cy="5654675"/>
          </a:xfrm>
          <a:ln/>
        </p:spPr>
      </p:sp>
      <p:sp>
        <p:nvSpPr>
          <p:cNvPr id="51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57906" y="7166614"/>
            <a:ext cx="7685405" cy="67868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hu-HU" smtClean="0"/>
              <a:t>2015.09.23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ysdata PSE Kft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131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A7AC87C-CEB3-4174-9BCC-F323C741183A}" type="slidenum">
              <a:rPr lang="hu-HU"/>
              <a:pPr/>
              <a:t>8</a:t>
            </a:fld>
            <a:endParaRPr lang="hu-HU"/>
          </a:p>
        </p:txBody>
      </p:sp>
      <p:sp>
        <p:nvSpPr>
          <p:cNvPr id="51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2250" y="1135063"/>
            <a:ext cx="10055225" cy="5654675"/>
          </a:xfrm>
          <a:ln/>
        </p:spPr>
      </p:sp>
      <p:sp>
        <p:nvSpPr>
          <p:cNvPr id="51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57906" y="7166614"/>
            <a:ext cx="7685405" cy="67868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hu-HU" smtClean="0"/>
              <a:t>2015.09.23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ysdata PSE Kft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63821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A7AC87C-CEB3-4174-9BCC-F323C741183A}" type="slidenum">
              <a:rPr lang="hu-HU"/>
              <a:pPr/>
              <a:t>9</a:t>
            </a:fld>
            <a:endParaRPr lang="hu-HU"/>
          </a:p>
        </p:txBody>
      </p:sp>
      <p:sp>
        <p:nvSpPr>
          <p:cNvPr id="51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2250" y="1135063"/>
            <a:ext cx="10055225" cy="5654675"/>
          </a:xfrm>
          <a:ln/>
        </p:spPr>
      </p:sp>
      <p:sp>
        <p:nvSpPr>
          <p:cNvPr id="51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57906" y="7166614"/>
            <a:ext cx="7685405" cy="67868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hu-HU" smtClean="0"/>
              <a:t>2015.09.23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ysdata PSE Kft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68596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jpeg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467"/>
            <a:ext cx="12195175" cy="6866467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459" y="2404534"/>
            <a:ext cx="7768959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459" y="4050834"/>
            <a:ext cx="7768959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8" name="Picture 174" descr="GettyImages_113812867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rcRect t="23868" b="8653"/>
          <a:stretch>
            <a:fillRect/>
          </a:stretch>
        </p:blipFill>
        <p:spPr bwMode="auto">
          <a:xfrm>
            <a:off x="0" y="0"/>
            <a:ext cx="12195175" cy="6858000"/>
          </a:xfrm>
          <a:prstGeom prst="rect">
            <a:avLst/>
          </a:prstGeom>
          <a:noFill/>
        </p:spPr>
      </p:pic>
      <p:sp>
        <p:nvSpPr>
          <p:cNvPr id="28" name="Rectangle 173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-23813" y="5084763"/>
            <a:ext cx="12218988" cy="1630362"/>
          </a:xfrm>
          <a:prstGeom prst="rect">
            <a:avLst/>
          </a:prstGeom>
          <a:solidFill>
            <a:schemeClr val="bg1">
              <a:alpha val="78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/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7241" y="317513"/>
            <a:ext cx="1184036" cy="8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989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11" y="609600"/>
            <a:ext cx="8598907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511" y="4470400"/>
            <a:ext cx="8598907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3AE09-EDC5-40D8-BBFC-A337157E09C2}" type="datetime1">
              <a:rPr lang="hu-HU" smtClean="0"/>
              <a:t>2022. 10. 27.</a:t>
            </a:fld>
            <a:endParaRPr lang="hu-H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Sysdata PSE Kft.</a:t>
            </a:r>
            <a:endParaRPr lang="hu-H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777015136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576" y="609600"/>
            <a:ext cx="809624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495" y="3632200"/>
            <a:ext cx="7226405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511" y="4470400"/>
            <a:ext cx="8598907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3AE09-EDC5-40D8-BBFC-A337157E09C2}" type="datetime1">
              <a:rPr lang="hu-HU" smtClean="0"/>
              <a:t>2022. 10. 27.</a:t>
            </a:fld>
            <a:endParaRPr lang="hu-H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Sysdata PSE Kft.</a:t>
            </a:r>
            <a:endParaRPr lang="hu-H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24" name="TextBox 23"/>
          <p:cNvSpPr txBox="1"/>
          <p:nvPr/>
        </p:nvSpPr>
        <p:spPr>
          <a:xfrm>
            <a:off x="542011" y="790378"/>
            <a:ext cx="60975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5327" y="2886556"/>
            <a:ext cx="60975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494642230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11" y="1931988"/>
            <a:ext cx="8598907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511" y="4527448"/>
            <a:ext cx="8598907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3AE09-EDC5-40D8-BBFC-A337157E09C2}" type="datetime1">
              <a:rPr lang="hu-HU" smtClean="0"/>
              <a:t>2022. 10. 27.</a:t>
            </a:fld>
            <a:endParaRPr lang="hu-H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Sysdata PSE Kft.</a:t>
            </a:r>
            <a:endParaRPr lang="hu-H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718544308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576" y="609600"/>
            <a:ext cx="809624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509" y="4013200"/>
            <a:ext cx="8598908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511" y="4527448"/>
            <a:ext cx="8598907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3AE09-EDC5-40D8-BBFC-A337157E09C2}" type="datetime1">
              <a:rPr lang="hu-HU" smtClean="0"/>
              <a:t>2022. 10. 27.</a:t>
            </a:fld>
            <a:endParaRPr lang="hu-H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Sysdata PSE Kft.</a:t>
            </a:r>
            <a:endParaRPr lang="hu-H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24" name="TextBox 23"/>
          <p:cNvSpPr txBox="1"/>
          <p:nvPr/>
        </p:nvSpPr>
        <p:spPr>
          <a:xfrm>
            <a:off x="542011" y="790378"/>
            <a:ext cx="60975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5327" y="2886556"/>
            <a:ext cx="60975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931529780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978" y="609600"/>
            <a:ext cx="8590440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509" y="4013200"/>
            <a:ext cx="8598908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511" y="4527448"/>
            <a:ext cx="8598907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3AE09-EDC5-40D8-BBFC-A337157E09C2}" type="datetime1">
              <a:rPr lang="hu-HU" smtClean="0"/>
              <a:t>2022. 10. 27.</a:t>
            </a:fld>
            <a:endParaRPr lang="hu-H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Sysdata PSE Kft.</a:t>
            </a:r>
            <a:endParaRPr lang="hu-H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167591124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5672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9748" y="609600"/>
            <a:ext cx="1305083" cy="5251451"/>
          </a:xfrm>
        </p:spPr>
        <p:txBody>
          <a:bodyPr vert="eaVert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511" y="609600"/>
            <a:ext cx="7061989" cy="5251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1984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0"/>
            <a:ext cx="1097597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040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0"/>
            <a:ext cx="1097597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1494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775" y="612775"/>
            <a:ext cx="7316788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775" y="5367338"/>
            <a:ext cx="7316788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3AE09-EDC5-40D8-BBFC-A337157E09C2}" type="datetime1">
              <a:rPr lang="hu-HU" smtClean="0"/>
              <a:t>2022. 10. 27.</a:t>
            </a:fld>
            <a:endParaRPr lang="hu-H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Sysdata PSE Kft.</a:t>
            </a:r>
            <a:endParaRPr lang="hu-H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558874154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9855" y="1590676"/>
            <a:ext cx="10948134" cy="22637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19855" y="4006851"/>
            <a:ext cx="10948134" cy="22653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566068" y="6488113"/>
            <a:ext cx="1439708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B2CA570-37D2-486A-94C2-064232EA17E5}" type="datetime1">
              <a:rPr lang="hu-HU" smtClean="0"/>
              <a:t>2022. 10. 27.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799734" y="6488113"/>
            <a:ext cx="3120779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Sysdata PSE Kft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11" y="2700868"/>
            <a:ext cx="8598907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511" y="4527448"/>
            <a:ext cx="8598907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94838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511" y="2160589"/>
            <a:ext cx="4185125" cy="38807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1295" y="2160590"/>
            <a:ext cx="4185124" cy="38807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55712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921" y="2160983"/>
            <a:ext cx="41867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921" y="2737246"/>
            <a:ext cx="4186713" cy="330411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9708" y="2160983"/>
            <a:ext cx="418670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9710" y="2737246"/>
            <a:ext cx="4186707" cy="330411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7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6548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10" y="609600"/>
            <a:ext cx="8598907" cy="1320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7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6927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14444A-220A-48AF-BF31-B4283B52893F}" type="datetime1">
              <a:rPr lang="hu-HU" sz="1200" b="1" smtClean="0"/>
              <a:t>2022. 10. 27.</a:t>
            </a:fld>
            <a:endParaRPr lang="en-US" sz="1200" b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00199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10" y="1498604"/>
            <a:ext cx="3855532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1701" y="514925"/>
            <a:ext cx="4514716" cy="552643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510" y="2777069"/>
            <a:ext cx="3855532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smtClean="0"/>
              <a:t>10/2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7291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11" y="4800600"/>
            <a:ext cx="8598906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510" y="609600"/>
            <a:ext cx="8598907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511" y="5367338"/>
            <a:ext cx="8598906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7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104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467"/>
            <a:ext cx="12195175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510" y="609600"/>
            <a:ext cx="8598907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510" y="2160590"/>
            <a:ext cx="8598907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7010" y="6041363"/>
            <a:ext cx="91217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AE09-EDC5-40D8-BBFC-A337157E09C2}" type="datetime1">
              <a:rPr lang="hu-HU" smtClean="0"/>
              <a:t>2022. 10. 27.</a:t>
            </a:fld>
            <a:endParaRPr lang="hu-H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510" y="6041363"/>
            <a:ext cx="62992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u-HU" smtClean="0"/>
              <a:t>Sysdata PSE Kft.</a:t>
            </a:r>
            <a:endParaRPr lang="hu-H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2901" y="6041363"/>
            <a:ext cx="6835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endParaRPr lang="hu-HU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7241" y="317513"/>
            <a:ext cx="1184036" cy="8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203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657" r:id="rId19"/>
    <p:sldLayoutId id="2147483660" r:id="rId20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6090" name="Object 4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18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750" y="5126477"/>
            <a:ext cx="11245850" cy="1653702"/>
          </a:xfrm>
        </p:spPr>
        <p:txBody>
          <a:bodyPr/>
          <a:lstStyle/>
          <a:p>
            <a:r>
              <a:rPr lang="hu-HU" dirty="0"/>
              <a:t>Céges számlafeldolgozó folyamatot támogató alkalmazá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34664" y="4552545"/>
            <a:ext cx="2194127" cy="294267"/>
          </a:xfrm>
        </p:spPr>
        <p:txBody>
          <a:bodyPr>
            <a:noAutofit/>
          </a:bodyPr>
          <a:lstStyle/>
          <a:p>
            <a:r>
              <a:rPr lang="hu-HU" sz="2000" dirty="0" smtClean="0">
                <a:solidFill>
                  <a:schemeClr val="bg1"/>
                </a:solidFill>
              </a:rPr>
              <a:t>Adonics Nikolett</a:t>
            </a:r>
            <a:endParaRPr lang="hu-HU" sz="2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0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7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181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722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10" y="609600"/>
            <a:ext cx="8598907" cy="830094"/>
          </a:xfrm>
        </p:spPr>
        <p:txBody>
          <a:bodyPr>
            <a:normAutofit/>
          </a:bodyPr>
          <a:lstStyle/>
          <a:p>
            <a:r>
              <a:rPr lang="hu-HU" sz="4000" dirty="0" smtClean="0"/>
              <a:t>Demo</a:t>
            </a:r>
            <a:endParaRPr lang="hu-HU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510" y="1799618"/>
            <a:ext cx="8598907" cy="4241746"/>
          </a:xfrm>
        </p:spPr>
        <p:txBody>
          <a:bodyPr>
            <a:normAutofit/>
          </a:bodyPr>
          <a:lstStyle/>
          <a:p>
            <a:r>
              <a:rPr lang="hu-HU" sz="2000" dirty="0" smtClean="0"/>
              <a:t>Feladat bemutatása</a:t>
            </a:r>
          </a:p>
          <a:p>
            <a:r>
              <a:rPr lang="hu-HU" sz="2000" smtClean="0"/>
              <a:t>Diagramok </a:t>
            </a:r>
            <a:r>
              <a:rPr lang="hu-HU" sz="2000" dirty="0" smtClean="0"/>
              <a:t>bemutatása</a:t>
            </a:r>
          </a:p>
          <a:p>
            <a:r>
              <a:rPr lang="hu-HU" sz="2000" dirty="0"/>
              <a:t>Továbbfejlesztési lehetőségek</a:t>
            </a:r>
            <a:endParaRPr lang="hu-HU" sz="2000" dirty="0" smtClean="0"/>
          </a:p>
          <a:p>
            <a:r>
              <a:rPr lang="hu-HU" sz="2000" dirty="0" smtClean="0"/>
              <a:t>Bejelentkezés jogosultság szerint és számlafeldolgozó folyamat bemutatása</a:t>
            </a:r>
            <a:endParaRPr lang="hu-HU" sz="2000" dirty="0"/>
          </a:p>
        </p:txBody>
      </p:sp>
      <p:sp>
        <p:nvSpPr>
          <p:cNvPr id="5" name="Footer Placeholder 4"/>
          <p:cNvSpPr txBox="1">
            <a:spLocks/>
          </p:cNvSpPr>
          <p:nvPr/>
        </p:nvSpPr>
        <p:spPr>
          <a:xfrm>
            <a:off x="-351952" y="6497841"/>
            <a:ext cx="3121025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r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r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r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r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b="1" dirty="0" err="1" smtClean="0"/>
              <a:t>Sysdata</a:t>
            </a:r>
            <a:r>
              <a:rPr lang="en-US" b="1" dirty="0" smtClean="0"/>
              <a:t> PSE </a:t>
            </a:r>
            <a:r>
              <a:rPr lang="en-US" b="1" dirty="0" err="1" smtClean="0"/>
              <a:t>Kft</a:t>
            </a:r>
            <a:r>
              <a:rPr lang="en-US" b="1" dirty="0" smtClean="0"/>
              <a:t>.</a:t>
            </a:r>
            <a:endParaRPr lang="en-US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Feladat bemutatása és elkészített funkciók </a:t>
            </a:r>
            <a:endParaRPr lang="hu-HU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hu-HU" dirty="0"/>
              <a:t>Adatbázis létrehozása</a:t>
            </a:r>
          </a:p>
          <a:p>
            <a:r>
              <a:rPr lang="hu-HU" dirty="0"/>
              <a:t>Számlák létrehozás, listázása, módosítása, törlése</a:t>
            </a:r>
          </a:p>
          <a:p>
            <a:r>
              <a:rPr lang="hu-HU" dirty="0"/>
              <a:t>Számla pdf-jének tárolása blob-ként és annak letöltése</a:t>
            </a:r>
          </a:p>
          <a:p>
            <a:r>
              <a:rPr lang="hu-HU" dirty="0"/>
              <a:t>Számla státuszának állítása</a:t>
            </a:r>
          </a:p>
          <a:p>
            <a:r>
              <a:rPr lang="hu-HU" dirty="0"/>
              <a:t>Felhasználók létrehozása, listázása, módosítása, törlése</a:t>
            </a:r>
          </a:p>
          <a:p>
            <a:r>
              <a:rPr lang="hu-HU" dirty="0"/>
              <a:t>Számlák és felhasználók listájában keresés, </a:t>
            </a:r>
            <a:r>
              <a:rPr lang="hu-HU" dirty="0" smtClean="0"/>
              <a:t>rendezés</a:t>
            </a:r>
            <a:endParaRPr lang="hu-H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hu-HU" dirty="0"/>
              <a:t>Számlák szűrése</a:t>
            </a:r>
          </a:p>
          <a:p>
            <a:r>
              <a:rPr lang="hu-HU" dirty="0"/>
              <a:t>Jelszó titkosítása</a:t>
            </a:r>
          </a:p>
          <a:p>
            <a:r>
              <a:rPr lang="hu-HU" dirty="0"/>
              <a:t>Bejelentkezés jogosultság </a:t>
            </a:r>
            <a:r>
              <a:rPr lang="hu-HU" dirty="0" smtClean="0"/>
              <a:t>szerint</a:t>
            </a:r>
            <a:endParaRPr lang="hu-H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4479" y="6434507"/>
            <a:ext cx="6299252" cy="365125"/>
          </a:xfrm>
        </p:spPr>
        <p:txBody>
          <a:bodyPr/>
          <a:lstStyle/>
          <a:p>
            <a:r>
              <a:rPr lang="en-US" sz="1200" b="1" dirty="0" err="1"/>
              <a:t>Sysdata</a:t>
            </a:r>
            <a:r>
              <a:rPr lang="en-US" sz="1200" b="1" dirty="0"/>
              <a:t> PSE </a:t>
            </a:r>
            <a:r>
              <a:rPr lang="en-US" sz="1200" b="1" dirty="0" err="1"/>
              <a:t>Kft</a:t>
            </a:r>
            <a:r>
              <a:rPr lang="en-US" sz="1200" b="1" dirty="0" smtClean="0"/>
              <a:t>.</a:t>
            </a:r>
            <a:endParaRPr lang="en-US" sz="1200" b="1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813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2956" y="6478621"/>
            <a:ext cx="2007324" cy="278062"/>
          </a:xfrm>
          <a:prstGeom prst="rect">
            <a:avLst/>
          </a:prstGeom>
        </p:spPr>
        <p:txBody>
          <a:bodyPr/>
          <a:lstStyle/>
          <a:p>
            <a:r>
              <a:rPr lang="en-US" sz="1200" b="1" dirty="0" err="1" smtClean="0"/>
              <a:t>Sysdata</a:t>
            </a:r>
            <a:r>
              <a:rPr lang="en-US" sz="1200" b="1" dirty="0" smtClean="0"/>
              <a:t> PSE </a:t>
            </a:r>
            <a:r>
              <a:rPr lang="en-US" sz="1200" b="1" dirty="0" err="1" smtClean="0"/>
              <a:t>Kft</a:t>
            </a:r>
            <a:r>
              <a:rPr lang="en-US" sz="1200" b="1" dirty="0" smtClean="0"/>
              <a:t>.</a:t>
            </a:r>
            <a:endParaRPr lang="en-US" sz="1200" b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0280" y="57278"/>
            <a:ext cx="5802163" cy="6699405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 txBox="1">
            <a:spLocks/>
          </p:cNvSpPr>
          <p:nvPr/>
        </p:nvSpPr>
        <p:spPr>
          <a:xfrm>
            <a:off x="9074150" y="6488113"/>
            <a:ext cx="3121025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r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r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r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r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b="1" smtClean="0"/>
              <a:t>Sysdata PSE Kft.</a:t>
            </a:r>
            <a:endParaRPr lang="en-US" b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3775" y="369415"/>
            <a:ext cx="7069439" cy="6118698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4627" y="6497841"/>
            <a:ext cx="3121025" cy="273050"/>
          </a:xfrm>
          <a:prstGeom prst="rect">
            <a:avLst/>
          </a:prstGeom>
        </p:spPr>
        <p:txBody>
          <a:bodyPr/>
          <a:lstStyle/>
          <a:p>
            <a:r>
              <a:rPr lang="en-US" sz="1200" b="1" dirty="0" err="1" smtClean="0"/>
              <a:t>Sysdata</a:t>
            </a:r>
            <a:r>
              <a:rPr lang="en-US" sz="1200" b="1" dirty="0" smtClean="0"/>
              <a:t> PSE </a:t>
            </a:r>
            <a:r>
              <a:rPr lang="en-US" sz="1200" b="1" dirty="0" err="1" smtClean="0"/>
              <a:t>Kft</a:t>
            </a:r>
            <a:r>
              <a:rPr lang="en-US" sz="1200" b="1" dirty="0" smtClean="0"/>
              <a:t>.</a:t>
            </a:r>
            <a:endParaRPr lang="en-US" sz="1200" b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5029" y="124209"/>
            <a:ext cx="4464997" cy="6539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8813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4627" y="6497841"/>
            <a:ext cx="3121025" cy="273050"/>
          </a:xfrm>
          <a:prstGeom prst="rect">
            <a:avLst/>
          </a:prstGeom>
        </p:spPr>
        <p:txBody>
          <a:bodyPr/>
          <a:lstStyle/>
          <a:p>
            <a:r>
              <a:rPr lang="en-US" sz="1200" b="1" dirty="0" err="1" smtClean="0"/>
              <a:t>Sysdata</a:t>
            </a:r>
            <a:r>
              <a:rPr lang="en-US" sz="1200" b="1" dirty="0" smtClean="0"/>
              <a:t> PSE </a:t>
            </a:r>
            <a:r>
              <a:rPr lang="en-US" sz="1200" b="1" dirty="0" err="1" smtClean="0"/>
              <a:t>Kft</a:t>
            </a:r>
            <a:r>
              <a:rPr lang="en-US" sz="1200" b="1" dirty="0" smtClean="0"/>
              <a:t>.</a:t>
            </a:r>
            <a:endParaRPr lang="en-US" sz="1200" b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31" y="243191"/>
            <a:ext cx="9085634" cy="597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6652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4627" y="6497841"/>
            <a:ext cx="3121025" cy="273050"/>
          </a:xfrm>
          <a:prstGeom prst="rect">
            <a:avLst/>
          </a:prstGeom>
        </p:spPr>
        <p:txBody>
          <a:bodyPr/>
          <a:lstStyle/>
          <a:p>
            <a:r>
              <a:rPr lang="en-US" sz="1200" b="1" dirty="0" err="1" smtClean="0"/>
              <a:t>Sysdata</a:t>
            </a:r>
            <a:r>
              <a:rPr lang="en-US" sz="1200" b="1" dirty="0" smtClean="0"/>
              <a:t> PSE </a:t>
            </a:r>
            <a:r>
              <a:rPr lang="en-US" sz="1200" b="1" dirty="0" err="1" smtClean="0"/>
              <a:t>Kft</a:t>
            </a:r>
            <a:r>
              <a:rPr lang="en-US" sz="1200" b="1" dirty="0" smtClean="0"/>
              <a:t>.</a:t>
            </a:r>
            <a:endParaRPr lang="en-US" sz="12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5139" y="198877"/>
            <a:ext cx="6597660" cy="6298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1709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Továbbfejlesztési lehetőségek</a:t>
            </a:r>
            <a:endParaRPr lang="hu-HU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511" y="1663430"/>
            <a:ext cx="4185125" cy="4377931"/>
          </a:xfrm>
        </p:spPr>
        <p:txBody>
          <a:bodyPr>
            <a:normAutofit fontScale="70000" lnSpcReduction="20000"/>
          </a:bodyPr>
          <a:lstStyle/>
          <a:p>
            <a:pPr lvl="0"/>
            <a:r>
              <a:rPr lang="hu-HU" dirty="0"/>
              <a:t>Az adatok megjelenítésének átalakítása, hogy jobban átlátható legyen</a:t>
            </a:r>
          </a:p>
          <a:p>
            <a:pPr lvl="0"/>
            <a:r>
              <a:rPr lang="hu-HU" dirty="0"/>
              <a:t>Egyes oszlopokra szűrésnél egyes szűrt oszloptípusok külön törlése</a:t>
            </a:r>
          </a:p>
          <a:p>
            <a:pPr lvl="0"/>
            <a:r>
              <a:rPr lang="hu-HU" dirty="0"/>
              <a:t>Date formátumú elemek formázása</a:t>
            </a:r>
          </a:p>
          <a:p>
            <a:pPr lvl="0"/>
            <a:r>
              <a:rPr lang="hu-HU" dirty="0"/>
              <a:t>Görgetés nélkül látható az összes gomb és adat</a:t>
            </a:r>
          </a:p>
          <a:p>
            <a:pPr lvl="0"/>
            <a:r>
              <a:rPr lang="hu-HU" dirty="0"/>
              <a:t>https protokol használata a bejelentkezésnél és a regisztrációnál</a:t>
            </a:r>
          </a:p>
          <a:p>
            <a:pPr lvl="0"/>
            <a:r>
              <a:rPr lang="hu-HU" dirty="0"/>
              <a:t>JWT titkosítása</a:t>
            </a:r>
          </a:p>
          <a:p>
            <a:pPr lvl="0"/>
            <a:r>
              <a:rPr lang="hu-HU" dirty="0"/>
              <a:t>Több felhasználó egyszerre használja, többszálon fusson</a:t>
            </a:r>
          </a:p>
          <a:p>
            <a:pPr lvl="0"/>
            <a:r>
              <a:rPr lang="hu-HU" dirty="0"/>
              <a:t>Hibakezelések bővítése</a:t>
            </a:r>
          </a:p>
          <a:p>
            <a:pPr lvl="0"/>
            <a:r>
              <a:rPr lang="hu-HU" dirty="0"/>
              <a:t>Ismétlődő kódok kiszervezése </a:t>
            </a:r>
            <a:r>
              <a:rPr lang="hu-HU" dirty="0" smtClean="0"/>
              <a:t>függvényekbe</a:t>
            </a:r>
          </a:p>
          <a:p>
            <a:r>
              <a:rPr lang="hu-HU" dirty="0"/>
              <a:t>Hibás bejelentkezési adatok esetén hibajelzés</a:t>
            </a:r>
          </a:p>
          <a:p>
            <a:r>
              <a:rPr lang="hu-HU" dirty="0"/>
              <a:t>Felurgó ablakoknál sima kilépés, ha </a:t>
            </a:r>
            <a:r>
              <a:rPr lang="hu-HU" dirty="0" smtClean="0"/>
              <a:t>mellékattintunk</a:t>
            </a:r>
            <a:endParaRPr lang="hu-H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1295" y="1663430"/>
            <a:ext cx="4185124" cy="4377933"/>
          </a:xfrm>
        </p:spPr>
        <p:txBody>
          <a:bodyPr>
            <a:normAutofit fontScale="70000" lnSpcReduction="20000"/>
          </a:bodyPr>
          <a:lstStyle/>
          <a:p>
            <a:pPr lvl="0"/>
            <a:r>
              <a:rPr lang="hu-HU" dirty="0" smtClean="0"/>
              <a:t>Egy </a:t>
            </a:r>
            <a:r>
              <a:rPr lang="hu-HU" dirty="0"/>
              <a:t>adminisztrátor csak egyszer módosíthassa a számlák státuszát</a:t>
            </a:r>
          </a:p>
          <a:p>
            <a:pPr lvl="0"/>
            <a:r>
              <a:rPr lang="hu-HU" dirty="0"/>
              <a:t>Számlák módosítása esetén, a számlák pontos adatainak kimentése</a:t>
            </a:r>
          </a:p>
          <a:p>
            <a:pPr lvl="0"/>
            <a:r>
              <a:rPr lang="hu-HU" dirty="0"/>
              <a:t>Password complexity rules megadása</a:t>
            </a:r>
          </a:p>
          <a:p>
            <a:pPr lvl="0"/>
            <a:r>
              <a:rPr lang="hu-HU" dirty="0"/>
              <a:t>Az invoice currency megadásakor egyéb lehetőségbe input mező beállítása</a:t>
            </a:r>
          </a:p>
          <a:p>
            <a:pPr lvl="0"/>
            <a:r>
              <a:rPr lang="hu-HU" dirty="0"/>
              <a:t>Csak PDF formátumú elemeket lehessen feltölteni</a:t>
            </a:r>
          </a:p>
          <a:p>
            <a:pPr lvl="0"/>
            <a:r>
              <a:rPr lang="hu-HU" dirty="0"/>
              <a:t>Új user hozzáadása esetén email-ben jelszó küldése a megadott e-mail címre, majd a user módosíthassa a jelszavát</a:t>
            </a:r>
          </a:p>
          <a:p>
            <a:pPr lvl="0"/>
            <a:r>
              <a:rPr lang="hu-HU" dirty="0"/>
              <a:t>’Pdf’ tábla megszüntetése és egyből az ’Invoice’ táblába mentés</a:t>
            </a:r>
          </a:p>
          <a:p>
            <a:pPr lvl="0"/>
            <a:r>
              <a:rPr lang="hu-HU" dirty="0"/>
              <a:t>Magának a pdf dokumentumnak a törlése az adatbázisból</a:t>
            </a:r>
          </a:p>
          <a:p>
            <a:pPr lvl="0"/>
            <a:r>
              <a:rPr lang="hu-HU" dirty="0"/>
              <a:t>’Roles’ tábla törlése és az ehhez tartozó kódok átírása</a:t>
            </a:r>
          </a:p>
          <a:p>
            <a:endParaRPr lang="hu-H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sz="1200" b="1" dirty="0" err="1" smtClean="0"/>
              <a:t>Sysdata</a:t>
            </a:r>
            <a:r>
              <a:rPr lang="en-US" sz="1200" b="1" dirty="0" smtClean="0"/>
              <a:t> PSE </a:t>
            </a:r>
            <a:r>
              <a:rPr lang="en-US" sz="1200" b="1" dirty="0" err="1" smtClean="0"/>
              <a:t>Kft</a:t>
            </a:r>
            <a:r>
              <a:rPr lang="en-US" sz="1200" b="1" dirty="0" smtClean="0"/>
              <a:t>.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4823653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6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EE4P_STYLE" val="Standard Red"/>
  <p:tag name="THINKCELLUNDODONOTDELETE" val="2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kw4VxjUaR2gzv0pn6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6bhWQEYk.JEIHF7yD9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231</TotalTime>
  <Words>299</Words>
  <Application>Microsoft Office PowerPoint</Application>
  <PresentationFormat>Custom</PresentationFormat>
  <Paragraphs>71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Wingdings</vt:lpstr>
      <vt:lpstr>Trebuchet MS</vt:lpstr>
      <vt:lpstr>Wingdings 3</vt:lpstr>
      <vt:lpstr>Facet</vt:lpstr>
      <vt:lpstr>think-cell Slide</vt:lpstr>
      <vt:lpstr>Céges számlafeldolgozó folyamatot támogató alkalmazás</vt:lpstr>
      <vt:lpstr>Demo</vt:lpstr>
      <vt:lpstr>Feladat bemutatása és elkészített funkciók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ovábbfejlesztési lehetőségek</vt:lpstr>
    </vt:vector>
  </TitlesOfParts>
  <Company>Siemens CVC (Siemens PSE Kft.)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ysdata PSE Kft.</dc:title>
  <dc:creator>Szekendy, Ákos</dc:creator>
  <cp:keywords/>
  <dc:description/>
  <cp:lastModifiedBy>Adonics, Nikoletta</cp:lastModifiedBy>
  <cp:revision>569</cp:revision>
  <cp:lastPrinted>2015-07-23T15:02:07Z</cp:lastPrinted>
  <dcterms:created xsi:type="dcterms:W3CDTF">2011-10-13T15:18:27Z</dcterms:created>
  <dcterms:modified xsi:type="dcterms:W3CDTF">2022-10-27T07:05:5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">
    <vt:lpwstr>Document</vt:lpwstr>
  </property>
  <property fmtid="{D5CDD505-2E9C-101B-9397-08002B2CF9AE}" pid="3" name="_NewReviewCycle">
    <vt:lpwstr/>
  </property>
</Properties>
</file>